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6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1BD1-4D20-9EA5-5CAC5768AEE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1BD1-4D20-9EA5-5CAC5768AEEA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1BD1-4D20-9EA5-5CAC5768AEE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1BD1-4D20-9EA5-5CAC5768AE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1304799"/>
        <c:axId val="1"/>
      </c:barChart>
      <c:catAx>
        <c:axId val="413047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68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3047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628123010909674"/>
          <c:y val="0.92539391498088719"/>
          <c:w val="0.25047844994502877"/>
          <c:h val="5.70046415695424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BD4E77-4684-F557-88B4-E3D897E2EA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0B7064FA-47B4-BCBA-C843-4D79E421A2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7064FA-47B4-BCBA-C843-4D79E421A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0E15AF-BAE1-DDBD-4FD1-FC9E021A5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Column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615F940-53CB-619C-9336-27AA7F38FFAD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19">
            <a:extLst>
              <a:ext uri="{FF2B5EF4-FFF2-40B4-BE49-F238E27FC236}">
                <a16:creationId xmlns:a16="http://schemas.microsoft.com/office/drawing/2014/main" id="{B4CBA946-ACAB-C03B-0B80-F0C011554486}"/>
              </a:ext>
            </a:extLst>
          </p:cNvPr>
          <p:cNvGraphicFramePr>
            <a:graphicFrameLocks/>
          </p:cNvGraphicFramePr>
          <p:nvPr/>
        </p:nvGraphicFramePr>
        <p:xfrm>
          <a:off x="419099" y="1250864"/>
          <a:ext cx="11233150" cy="4786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11136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5</TotalTime>
  <Words>3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luster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51</cp:revision>
  <dcterms:created xsi:type="dcterms:W3CDTF">2021-03-31T02:49:57Z</dcterms:created>
  <dcterms:modified xsi:type="dcterms:W3CDTF">2025-10-15T03:51:50Z</dcterms:modified>
  <cp:category/>
</cp:coreProperties>
</file>